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526825" r:id="rId1"/>
    <p:sldMasterId id="2147527238" r:id="rId2"/>
  </p:sldMasterIdLst>
  <p:notesMasterIdLst>
    <p:notesMasterId r:id="rId13"/>
  </p:notesMasterIdLst>
  <p:sldIdLst>
    <p:sldId id="1554" r:id="rId3"/>
    <p:sldId id="1651" r:id="rId4"/>
    <p:sldId id="1653" r:id="rId5"/>
    <p:sldId id="1654" r:id="rId6"/>
    <p:sldId id="1656" r:id="rId7"/>
    <p:sldId id="1652" r:id="rId8"/>
    <p:sldId id="1655" r:id="rId9"/>
    <p:sldId id="1657" r:id="rId10"/>
    <p:sldId id="1658" r:id="rId11"/>
    <p:sldId id="1555" r:id="rId12"/>
  </p:sldIdLst>
  <p:sldSz cx="12195175" cy="6859588"/>
  <p:notesSz cx="6797675" cy="9928225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75" userDrawn="1">
          <p15:clr>
            <a:srgbClr val="A4A3A4"/>
          </p15:clr>
        </p15:guide>
        <p15:guide id="2" pos="384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Автор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C100"/>
    <a:srgbClr val="D71921"/>
    <a:srgbClr val="FFCF00"/>
    <a:srgbClr val="FFFFCC"/>
    <a:srgbClr val="FFFF81"/>
    <a:srgbClr val="FFCC00"/>
    <a:srgbClr val="B0AC00"/>
    <a:srgbClr val="960000"/>
    <a:srgbClr val="F5F6D9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115" autoAdjust="0"/>
    <p:restoredTop sz="87692" autoAdjust="0"/>
  </p:normalViewPr>
  <p:slideViewPr>
    <p:cSldViewPr showGuides="1">
      <p:cViewPr varScale="1">
        <p:scale>
          <a:sx n="66" d="100"/>
          <a:sy n="66" d="100"/>
        </p:scale>
        <p:origin x="486" y="42"/>
      </p:cViewPr>
      <p:guideLst>
        <p:guide orient="horz" pos="3975"/>
        <p:guide pos="384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>
            <a:extLst/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24579" name="Rectangle 3">
            <a:extLst/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4771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4581" name="Rectangle 5">
            <a:extLst/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6463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noProof="0"/>
              <a:t>Образец текста</a:t>
            </a:r>
          </a:p>
          <a:p>
            <a:pPr lvl="1"/>
            <a:r>
              <a:rPr lang="ru-RU" altLang="ru-RU" noProof="0"/>
              <a:t>Второй уровень</a:t>
            </a:r>
          </a:p>
          <a:p>
            <a:pPr lvl="2"/>
            <a:r>
              <a:rPr lang="ru-RU" altLang="ru-RU" noProof="0"/>
              <a:t>Третий уровень</a:t>
            </a:r>
          </a:p>
          <a:p>
            <a:pPr lvl="3"/>
            <a:r>
              <a:rPr lang="ru-RU" altLang="ru-RU" noProof="0"/>
              <a:t>Четвертый уровень</a:t>
            </a:r>
          </a:p>
          <a:p>
            <a:pPr lvl="4"/>
            <a:r>
              <a:rPr lang="ru-RU" altLang="ru-RU" noProof="0"/>
              <a:t>Пятый уровень</a:t>
            </a:r>
          </a:p>
        </p:txBody>
      </p:sp>
      <p:sp>
        <p:nvSpPr>
          <p:cNvPr id="24582" name="Rectangle 6">
            <a:extLst/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24583" name="Rectangle 7">
            <a:extLst/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7179AC66-C47A-4850-98A1-5E60515D899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8354910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обрый</a:t>
            </a:r>
            <a:r>
              <a:rPr lang="ru-RU" baseline="0" dirty="0"/>
              <a:t> день, коллеги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490E10A-8071-4CF6-9931-34C96C66F917}" type="slidenum">
              <a:rPr lang="ru-RU" altLang="ru-RU" smtClean="0"/>
              <a:pPr>
                <a:defRPr/>
              </a:pPr>
              <a:t>1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0597521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490E10A-8071-4CF6-9931-34C96C66F917}" type="slidenum">
              <a:rPr lang="ru-RU" altLang="ru-RU" smtClean="0"/>
              <a:pPr>
                <a:defRPr/>
              </a:pPr>
              <a:t>10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334297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2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0419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3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5867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4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7311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5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44528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6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47729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7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7371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8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4513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9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2755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3978" y="1122539"/>
            <a:ext cx="9147221" cy="2387917"/>
          </a:xfrm>
        </p:spPr>
        <p:txBody>
          <a:bodyPr anchor="b"/>
          <a:lstStyle>
            <a:lvl1pPr algn="ctr">
              <a:defRPr sz="635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3978" y="3602880"/>
            <a:ext cx="9147221" cy="1656922"/>
          </a:xfrm>
        </p:spPr>
        <p:txBody>
          <a:bodyPr/>
          <a:lstStyle>
            <a:lvl1pPr marL="0" indent="0" algn="ctr">
              <a:buNone/>
              <a:defRPr sz="2540"/>
            </a:lvl1pPr>
            <a:lvl2pPr marL="483900" indent="0" algn="ctr">
              <a:buNone/>
              <a:defRPr sz="2117"/>
            </a:lvl2pPr>
            <a:lvl3pPr marL="967801" indent="0" algn="ctr">
              <a:buNone/>
              <a:defRPr sz="1905"/>
            </a:lvl3pPr>
            <a:lvl4pPr marL="1451701" indent="0" algn="ctr">
              <a:buNone/>
              <a:defRPr sz="1693"/>
            </a:lvl4pPr>
            <a:lvl5pPr marL="1935602" indent="0" algn="ctr">
              <a:buNone/>
              <a:defRPr sz="1693"/>
            </a:lvl5pPr>
            <a:lvl6pPr marL="2419502" indent="0" algn="ctr">
              <a:buNone/>
              <a:defRPr sz="1693"/>
            </a:lvl6pPr>
            <a:lvl7pPr marL="2903403" indent="0" algn="ctr">
              <a:buNone/>
              <a:defRPr sz="1693"/>
            </a:lvl7pPr>
            <a:lvl8pPr marL="3387303" indent="0" algn="ctr">
              <a:buNone/>
              <a:defRPr sz="1693"/>
            </a:lvl8pPr>
            <a:lvl9pPr marL="3871204" indent="0" algn="ctr">
              <a:buNone/>
              <a:defRPr sz="1693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500418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00973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967437" y="114271"/>
            <a:ext cx="2893372" cy="47556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87322" y="114271"/>
            <a:ext cx="8518812" cy="47556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23747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87321" y="114271"/>
            <a:ext cx="11573487" cy="475566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625574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48109" y="114271"/>
            <a:ext cx="9412699" cy="108220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87321" y="1700614"/>
            <a:ext cx="11573487" cy="31693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4669729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397" y="1122623"/>
            <a:ext cx="9146381" cy="2388153"/>
          </a:xfrm>
        </p:spPr>
        <p:txBody>
          <a:bodyPr anchor="b"/>
          <a:lstStyle>
            <a:lvl1pPr algn="ctr">
              <a:defRPr sz="600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397" y="3602872"/>
            <a:ext cx="9146381" cy="165614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91" indent="0" algn="ctr">
              <a:buNone/>
              <a:defRPr sz="2000"/>
            </a:lvl2pPr>
            <a:lvl3pPr marL="914583" indent="0" algn="ctr">
              <a:buNone/>
              <a:defRPr sz="1800"/>
            </a:lvl3pPr>
            <a:lvl4pPr marL="1371874" indent="0" algn="ctr">
              <a:buNone/>
              <a:defRPr sz="1600"/>
            </a:lvl4pPr>
            <a:lvl5pPr marL="1829166" indent="0" algn="ctr">
              <a:buNone/>
              <a:defRPr sz="1600"/>
            </a:lvl5pPr>
            <a:lvl6pPr marL="2286457" indent="0" algn="ctr">
              <a:buNone/>
              <a:defRPr sz="1600"/>
            </a:lvl6pPr>
            <a:lvl7pPr marL="2743749" indent="0" algn="ctr">
              <a:buNone/>
              <a:defRPr sz="1600"/>
            </a:lvl7pPr>
            <a:lvl8pPr marL="3201040" indent="0" algn="ctr">
              <a:buNone/>
              <a:defRPr sz="1600"/>
            </a:lvl8pPr>
            <a:lvl9pPr marL="3658332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7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4216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7067" y="45418"/>
            <a:ext cx="9939690" cy="1325870"/>
          </a:xfrm>
        </p:spPr>
        <p:txBody>
          <a:bodyPr/>
          <a:lstStyle>
            <a:lvl1pPr>
              <a:defRPr sz="2000" b="1">
                <a:solidFill>
                  <a:schemeClr val="bg1">
                    <a:lumMod val="50000"/>
                  </a:schemeClr>
                </a:solidFill>
                <a:latin typeface="Proxima Nova Lt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bg1">
                    <a:lumMod val="50000"/>
                  </a:schemeClr>
                </a:solidFill>
              </a:defRPr>
            </a:lvl2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7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5943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2067" y="1710134"/>
            <a:ext cx="10518338" cy="2853398"/>
          </a:xfrm>
        </p:spPr>
        <p:txBody>
          <a:bodyPr anchor="b"/>
          <a:lstStyle>
            <a:lvl1pPr>
              <a:defRPr sz="600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2067" y="4590526"/>
            <a:ext cx="10518338" cy="1500534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9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58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87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91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4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74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10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83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7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01991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418" y="1826048"/>
            <a:ext cx="5182949" cy="435234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3808" y="1826048"/>
            <a:ext cx="5182949" cy="435234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7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9347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007" y="365210"/>
            <a:ext cx="10518338" cy="132587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007" y="1681552"/>
            <a:ext cx="5159130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91" indent="0">
              <a:buNone/>
              <a:defRPr sz="2000" b="1"/>
            </a:lvl2pPr>
            <a:lvl3pPr marL="914583" indent="0">
              <a:buNone/>
              <a:defRPr sz="1800" b="1"/>
            </a:lvl3pPr>
            <a:lvl4pPr marL="1371874" indent="0">
              <a:buNone/>
              <a:defRPr sz="1600" b="1"/>
            </a:lvl4pPr>
            <a:lvl5pPr marL="1829166" indent="0">
              <a:buNone/>
              <a:defRPr sz="1600" b="1"/>
            </a:lvl5pPr>
            <a:lvl6pPr marL="2286457" indent="0">
              <a:buNone/>
              <a:defRPr sz="1600" b="1"/>
            </a:lvl6pPr>
            <a:lvl7pPr marL="2743749" indent="0">
              <a:buNone/>
              <a:defRPr sz="1600" b="1"/>
            </a:lvl7pPr>
            <a:lvl8pPr marL="3201040" indent="0">
              <a:buNone/>
              <a:defRPr sz="1600" b="1"/>
            </a:lvl8pPr>
            <a:lvl9pPr marL="365833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007" y="2505655"/>
            <a:ext cx="5159130" cy="3685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3807" y="1681552"/>
            <a:ext cx="5184538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91" indent="0">
              <a:buNone/>
              <a:defRPr sz="2000" b="1"/>
            </a:lvl2pPr>
            <a:lvl3pPr marL="914583" indent="0">
              <a:buNone/>
              <a:defRPr sz="1800" b="1"/>
            </a:lvl3pPr>
            <a:lvl4pPr marL="1371874" indent="0">
              <a:buNone/>
              <a:defRPr sz="1600" b="1"/>
            </a:lvl4pPr>
            <a:lvl5pPr marL="1829166" indent="0">
              <a:buNone/>
              <a:defRPr sz="1600" b="1"/>
            </a:lvl5pPr>
            <a:lvl6pPr marL="2286457" indent="0">
              <a:buNone/>
              <a:defRPr sz="1600" b="1"/>
            </a:lvl6pPr>
            <a:lvl7pPr marL="2743749" indent="0">
              <a:buNone/>
              <a:defRPr sz="1600" b="1"/>
            </a:lvl7pPr>
            <a:lvl8pPr marL="3201040" indent="0">
              <a:buNone/>
              <a:defRPr sz="1600" b="1"/>
            </a:lvl8pPr>
            <a:lvl9pPr marL="365833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3807" y="2505655"/>
            <a:ext cx="5184538" cy="3685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7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8661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7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089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635719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7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44363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007" y="457306"/>
            <a:ext cx="3933261" cy="1600571"/>
          </a:xfrm>
        </p:spPr>
        <p:txBody>
          <a:bodyPr anchor="b"/>
          <a:lstStyle>
            <a:lvl1pPr>
              <a:defRPr sz="3201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4538" y="987654"/>
            <a:ext cx="6173807" cy="4874754"/>
          </a:xfrm>
        </p:spPr>
        <p:txBody>
          <a:bodyPr/>
          <a:lstStyle>
            <a:lvl1pPr>
              <a:defRPr sz="3201"/>
            </a:lvl1pPr>
            <a:lvl2pPr>
              <a:defRPr sz="2801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007" y="2057876"/>
            <a:ext cx="3933261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291" indent="0">
              <a:buNone/>
              <a:defRPr sz="1400"/>
            </a:lvl2pPr>
            <a:lvl3pPr marL="914583" indent="0">
              <a:buNone/>
              <a:defRPr sz="1200"/>
            </a:lvl3pPr>
            <a:lvl4pPr marL="1371874" indent="0">
              <a:buNone/>
              <a:defRPr sz="1000"/>
            </a:lvl4pPr>
            <a:lvl5pPr marL="1829166" indent="0">
              <a:buNone/>
              <a:defRPr sz="1000"/>
            </a:lvl5pPr>
            <a:lvl6pPr marL="2286457" indent="0">
              <a:buNone/>
              <a:defRPr sz="1000"/>
            </a:lvl6pPr>
            <a:lvl7pPr marL="2743749" indent="0">
              <a:buNone/>
              <a:defRPr sz="1000"/>
            </a:lvl7pPr>
            <a:lvl8pPr marL="3201040" indent="0">
              <a:buNone/>
              <a:defRPr sz="1000"/>
            </a:lvl8pPr>
            <a:lvl9pPr marL="3658332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7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04031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007" y="457306"/>
            <a:ext cx="3933261" cy="1600571"/>
          </a:xfrm>
        </p:spPr>
        <p:txBody>
          <a:bodyPr anchor="b"/>
          <a:lstStyle>
            <a:lvl1pPr>
              <a:defRPr sz="3201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4538" y="987654"/>
            <a:ext cx="6173807" cy="4874754"/>
          </a:xfrm>
        </p:spPr>
        <p:txBody>
          <a:bodyPr anchor="t"/>
          <a:lstStyle>
            <a:lvl1pPr marL="0" indent="0">
              <a:buNone/>
              <a:defRPr sz="3201"/>
            </a:lvl1pPr>
            <a:lvl2pPr marL="457291" indent="0">
              <a:buNone/>
              <a:defRPr sz="2801"/>
            </a:lvl2pPr>
            <a:lvl3pPr marL="914583" indent="0">
              <a:buNone/>
              <a:defRPr sz="2400"/>
            </a:lvl3pPr>
            <a:lvl4pPr marL="1371874" indent="0">
              <a:buNone/>
              <a:defRPr sz="2000"/>
            </a:lvl4pPr>
            <a:lvl5pPr marL="1829166" indent="0">
              <a:buNone/>
              <a:defRPr sz="2000"/>
            </a:lvl5pPr>
            <a:lvl6pPr marL="2286457" indent="0">
              <a:buNone/>
              <a:defRPr sz="2000"/>
            </a:lvl6pPr>
            <a:lvl7pPr marL="2743749" indent="0">
              <a:buNone/>
              <a:defRPr sz="2000"/>
            </a:lvl7pPr>
            <a:lvl8pPr marL="3201040" indent="0">
              <a:buNone/>
              <a:defRPr sz="2000"/>
            </a:lvl8pPr>
            <a:lvl9pPr marL="3658332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007" y="2057876"/>
            <a:ext cx="3933261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291" indent="0">
              <a:buNone/>
              <a:defRPr sz="1400"/>
            </a:lvl2pPr>
            <a:lvl3pPr marL="914583" indent="0">
              <a:buNone/>
              <a:defRPr sz="1200"/>
            </a:lvl3pPr>
            <a:lvl4pPr marL="1371874" indent="0">
              <a:buNone/>
              <a:defRPr sz="1000"/>
            </a:lvl4pPr>
            <a:lvl5pPr marL="1829166" indent="0">
              <a:buNone/>
              <a:defRPr sz="1000"/>
            </a:lvl5pPr>
            <a:lvl6pPr marL="2286457" indent="0">
              <a:buNone/>
              <a:defRPr sz="1000"/>
            </a:lvl6pPr>
            <a:lvl7pPr marL="2743749" indent="0">
              <a:buNone/>
              <a:defRPr sz="1000"/>
            </a:lvl7pPr>
            <a:lvl8pPr marL="3201040" indent="0">
              <a:buNone/>
              <a:defRPr sz="1000"/>
            </a:lvl8pPr>
            <a:lvl9pPr marL="3658332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7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6692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7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85635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7172" y="365209"/>
            <a:ext cx="2629585" cy="581318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418" y="365209"/>
            <a:ext cx="7736314" cy="581318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7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530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ChangeArrowheads="1"/>
          </p:cNvSpPr>
          <p:nvPr userDrawn="1"/>
        </p:nvSpPr>
        <p:spPr bwMode="auto">
          <a:xfrm>
            <a:off x="1365606" y="331865"/>
            <a:ext cx="6097588" cy="711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878" tIns="54439" rIns="108878" bIns="54439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85000"/>
              </a:lnSpc>
              <a:defRPr/>
            </a:pPr>
            <a:r>
              <a:rPr lang="ru-RU" altLang="ru-RU" sz="2300" b="1" dirty="0">
                <a:solidFill>
                  <a:srgbClr val="FFFFFF"/>
                </a:solidFill>
              </a:rPr>
              <a:t>1С:УПРАВЛЕНИЕ</a:t>
            </a:r>
          </a:p>
          <a:p>
            <a:pPr eaLnBrk="1" hangingPunct="1">
              <a:lnSpc>
                <a:spcPct val="85000"/>
              </a:lnSpc>
              <a:defRPr/>
            </a:pPr>
            <a:r>
              <a:rPr lang="ru-RU" altLang="ru-RU" sz="2300" b="1" dirty="0">
                <a:solidFill>
                  <a:srgbClr val="FFFFFF"/>
                </a:solidFill>
              </a:rPr>
              <a:t>ХОЛДИНГОМ 8</a:t>
            </a:r>
          </a:p>
        </p:txBody>
      </p:sp>
      <p:pic>
        <p:nvPicPr>
          <p:cNvPr id="3" name="Picture 16" descr="Layer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668" y="239769"/>
            <a:ext cx="1295737" cy="765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84972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719" y="1710697"/>
            <a:ext cx="10518296" cy="2853400"/>
          </a:xfrm>
        </p:spPr>
        <p:txBody>
          <a:bodyPr anchor="b"/>
          <a:lstStyle>
            <a:lvl1pPr>
              <a:defRPr sz="635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719" y="4590984"/>
            <a:ext cx="10518296" cy="1500640"/>
          </a:xfrm>
        </p:spPr>
        <p:txBody>
          <a:bodyPr/>
          <a:lstStyle>
            <a:lvl1pPr marL="0" indent="0">
              <a:buNone/>
              <a:defRPr sz="2540"/>
            </a:lvl1pPr>
            <a:lvl2pPr marL="483900" indent="0">
              <a:buNone/>
              <a:defRPr sz="2117"/>
            </a:lvl2pPr>
            <a:lvl3pPr marL="967801" indent="0">
              <a:buNone/>
              <a:defRPr sz="1905"/>
            </a:lvl3pPr>
            <a:lvl4pPr marL="1451701" indent="0">
              <a:buNone/>
              <a:defRPr sz="1693"/>
            </a:lvl4pPr>
            <a:lvl5pPr marL="1935602" indent="0">
              <a:buNone/>
              <a:defRPr sz="1693"/>
            </a:lvl5pPr>
            <a:lvl6pPr marL="2419502" indent="0">
              <a:buNone/>
              <a:defRPr sz="1693"/>
            </a:lvl6pPr>
            <a:lvl7pPr marL="2903403" indent="0">
              <a:buNone/>
              <a:defRPr sz="1693"/>
            </a:lvl7pPr>
            <a:lvl8pPr marL="3387303" indent="0">
              <a:buNone/>
              <a:defRPr sz="1693"/>
            </a:lvl8pPr>
            <a:lvl9pPr marL="3871204" indent="0">
              <a:buNone/>
              <a:defRPr sz="169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310226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87321" y="1700614"/>
            <a:ext cx="5706092" cy="31693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54716" y="1700614"/>
            <a:ext cx="5706092" cy="31693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81376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120" y="364658"/>
            <a:ext cx="10518296" cy="132587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40120" y="1682130"/>
            <a:ext cx="5158334" cy="823419"/>
          </a:xfrm>
        </p:spPr>
        <p:txBody>
          <a:bodyPr anchor="b"/>
          <a:lstStyle>
            <a:lvl1pPr marL="0" indent="0">
              <a:buNone/>
              <a:defRPr sz="2540" b="1"/>
            </a:lvl1pPr>
            <a:lvl2pPr marL="483900" indent="0">
              <a:buNone/>
              <a:defRPr sz="2117" b="1"/>
            </a:lvl2pPr>
            <a:lvl3pPr marL="967801" indent="0">
              <a:buNone/>
              <a:defRPr sz="1905" b="1"/>
            </a:lvl3pPr>
            <a:lvl4pPr marL="1451701" indent="0">
              <a:buNone/>
              <a:defRPr sz="1693" b="1"/>
            </a:lvl4pPr>
            <a:lvl5pPr marL="1935602" indent="0">
              <a:buNone/>
              <a:defRPr sz="1693" b="1"/>
            </a:lvl5pPr>
            <a:lvl6pPr marL="2419502" indent="0">
              <a:buNone/>
              <a:defRPr sz="1693" b="1"/>
            </a:lvl6pPr>
            <a:lvl7pPr marL="2903403" indent="0">
              <a:buNone/>
              <a:defRPr sz="1693" b="1"/>
            </a:lvl7pPr>
            <a:lvl8pPr marL="3387303" indent="0">
              <a:buNone/>
              <a:defRPr sz="1693" b="1"/>
            </a:lvl8pPr>
            <a:lvl9pPr marL="3871204" indent="0">
              <a:buNone/>
              <a:defRPr sz="169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40120" y="2505549"/>
            <a:ext cx="5158334" cy="368522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3199" y="1682130"/>
            <a:ext cx="5185218" cy="823419"/>
          </a:xfrm>
        </p:spPr>
        <p:txBody>
          <a:bodyPr anchor="b"/>
          <a:lstStyle>
            <a:lvl1pPr marL="0" indent="0">
              <a:buNone/>
              <a:defRPr sz="2540" b="1"/>
            </a:lvl1pPr>
            <a:lvl2pPr marL="483900" indent="0">
              <a:buNone/>
              <a:defRPr sz="2117" b="1"/>
            </a:lvl2pPr>
            <a:lvl3pPr marL="967801" indent="0">
              <a:buNone/>
              <a:defRPr sz="1905" b="1"/>
            </a:lvl3pPr>
            <a:lvl4pPr marL="1451701" indent="0">
              <a:buNone/>
              <a:defRPr sz="1693" b="1"/>
            </a:lvl4pPr>
            <a:lvl5pPr marL="1935602" indent="0">
              <a:buNone/>
              <a:defRPr sz="1693" b="1"/>
            </a:lvl5pPr>
            <a:lvl6pPr marL="2419502" indent="0">
              <a:buNone/>
              <a:defRPr sz="1693" b="1"/>
            </a:lvl6pPr>
            <a:lvl7pPr marL="2903403" indent="0">
              <a:buNone/>
              <a:defRPr sz="1693" b="1"/>
            </a:lvl7pPr>
            <a:lvl8pPr marL="3387303" indent="0">
              <a:buNone/>
              <a:defRPr sz="1693" b="1"/>
            </a:lvl8pPr>
            <a:lvl9pPr marL="3871204" indent="0">
              <a:buNone/>
              <a:defRPr sz="169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3199" y="2505549"/>
            <a:ext cx="5185218" cy="368522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484405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07714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62845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120" y="457082"/>
            <a:ext cx="3933440" cy="1601467"/>
          </a:xfrm>
        </p:spPr>
        <p:txBody>
          <a:bodyPr anchor="b"/>
          <a:lstStyle>
            <a:lvl1pPr>
              <a:defRPr sz="33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5218" y="988103"/>
            <a:ext cx="6173198" cy="4874980"/>
          </a:xfrm>
        </p:spPr>
        <p:txBody>
          <a:bodyPr/>
          <a:lstStyle>
            <a:lvl1pPr>
              <a:defRPr sz="3387"/>
            </a:lvl1pPr>
            <a:lvl2pPr>
              <a:defRPr sz="2964"/>
            </a:lvl2pPr>
            <a:lvl3pPr>
              <a:defRPr sz="2540"/>
            </a:lvl3pPr>
            <a:lvl4pPr>
              <a:defRPr sz="2117"/>
            </a:lvl4pPr>
            <a:lvl5pPr>
              <a:defRPr sz="2117"/>
            </a:lvl5pPr>
            <a:lvl6pPr>
              <a:defRPr sz="2117"/>
            </a:lvl6pPr>
            <a:lvl7pPr>
              <a:defRPr sz="2117"/>
            </a:lvl7pPr>
            <a:lvl8pPr>
              <a:defRPr sz="2117"/>
            </a:lvl8pPr>
            <a:lvl9pPr>
              <a:defRPr sz="211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40120" y="2058549"/>
            <a:ext cx="3933440" cy="3811256"/>
          </a:xfrm>
        </p:spPr>
        <p:txBody>
          <a:bodyPr/>
          <a:lstStyle>
            <a:lvl1pPr marL="0" indent="0">
              <a:buNone/>
              <a:defRPr sz="1693"/>
            </a:lvl1pPr>
            <a:lvl2pPr marL="483900" indent="0">
              <a:buNone/>
              <a:defRPr sz="1482"/>
            </a:lvl2pPr>
            <a:lvl3pPr marL="967801" indent="0">
              <a:buNone/>
              <a:defRPr sz="1270"/>
            </a:lvl3pPr>
            <a:lvl4pPr marL="1451701" indent="0">
              <a:buNone/>
              <a:defRPr sz="1058"/>
            </a:lvl4pPr>
            <a:lvl5pPr marL="1935602" indent="0">
              <a:buNone/>
              <a:defRPr sz="1058"/>
            </a:lvl5pPr>
            <a:lvl6pPr marL="2419502" indent="0">
              <a:buNone/>
              <a:defRPr sz="1058"/>
            </a:lvl6pPr>
            <a:lvl7pPr marL="2903403" indent="0">
              <a:buNone/>
              <a:defRPr sz="1058"/>
            </a:lvl7pPr>
            <a:lvl8pPr marL="3387303" indent="0">
              <a:buNone/>
              <a:defRPr sz="1058"/>
            </a:lvl8pPr>
            <a:lvl9pPr marL="3871204" indent="0">
              <a:buNone/>
              <a:defRPr sz="105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632009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120" y="457082"/>
            <a:ext cx="3933440" cy="1601467"/>
          </a:xfrm>
        </p:spPr>
        <p:txBody>
          <a:bodyPr anchor="b"/>
          <a:lstStyle>
            <a:lvl1pPr>
              <a:defRPr sz="33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5218" y="988103"/>
            <a:ext cx="6173198" cy="4874980"/>
          </a:xfrm>
        </p:spPr>
        <p:txBody>
          <a:bodyPr/>
          <a:lstStyle>
            <a:lvl1pPr marL="0" indent="0">
              <a:buNone/>
              <a:defRPr sz="3387"/>
            </a:lvl1pPr>
            <a:lvl2pPr marL="483900" indent="0">
              <a:buNone/>
              <a:defRPr sz="2964"/>
            </a:lvl2pPr>
            <a:lvl3pPr marL="967801" indent="0">
              <a:buNone/>
              <a:defRPr sz="2540"/>
            </a:lvl3pPr>
            <a:lvl4pPr marL="1451701" indent="0">
              <a:buNone/>
              <a:defRPr sz="2117"/>
            </a:lvl4pPr>
            <a:lvl5pPr marL="1935602" indent="0">
              <a:buNone/>
              <a:defRPr sz="2117"/>
            </a:lvl5pPr>
            <a:lvl6pPr marL="2419502" indent="0">
              <a:buNone/>
              <a:defRPr sz="2117"/>
            </a:lvl6pPr>
            <a:lvl7pPr marL="2903403" indent="0">
              <a:buNone/>
              <a:defRPr sz="2117"/>
            </a:lvl7pPr>
            <a:lvl8pPr marL="3387303" indent="0">
              <a:buNone/>
              <a:defRPr sz="2117"/>
            </a:lvl8pPr>
            <a:lvl9pPr marL="3871204" indent="0">
              <a:buNone/>
              <a:defRPr sz="2117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40120" y="2058549"/>
            <a:ext cx="3933440" cy="3811256"/>
          </a:xfrm>
        </p:spPr>
        <p:txBody>
          <a:bodyPr/>
          <a:lstStyle>
            <a:lvl1pPr marL="0" indent="0">
              <a:buNone/>
              <a:defRPr sz="1693"/>
            </a:lvl1pPr>
            <a:lvl2pPr marL="483900" indent="0">
              <a:buNone/>
              <a:defRPr sz="1482"/>
            </a:lvl2pPr>
            <a:lvl3pPr marL="967801" indent="0">
              <a:buNone/>
              <a:defRPr sz="1270"/>
            </a:lvl3pPr>
            <a:lvl4pPr marL="1451701" indent="0">
              <a:buNone/>
              <a:defRPr sz="1058"/>
            </a:lvl4pPr>
            <a:lvl5pPr marL="1935602" indent="0">
              <a:buNone/>
              <a:defRPr sz="1058"/>
            </a:lvl5pPr>
            <a:lvl6pPr marL="2419502" indent="0">
              <a:buNone/>
              <a:defRPr sz="1058"/>
            </a:lvl6pPr>
            <a:lvl7pPr marL="2903403" indent="0">
              <a:buNone/>
              <a:defRPr sz="1058"/>
            </a:lvl7pPr>
            <a:lvl8pPr marL="3387303" indent="0">
              <a:buNone/>
              <a:defRPr sz="1058"/>
            </a:lvl8pPr>
            <a:lvl9pPr marL="3871204" indent="0">
              <a:buNone/>
              <a:defRPr sz="105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448569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3.xml"/><Relationship Id="rId19" Type="http://schemas.openxmlformats.org/officeDocument/2006/relationships/oleObject" Target="../embeddings/oleObject2.bin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7321" y="1700614"/>
            <a:ext cx="11573487" cy="316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1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448109" y="114271"/>
            <a:ext cx="9412699" cy="10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2" name="Picture 16" descr="Layer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42" y="161323"/>
            <a:ext cx="1641593" cy="1290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6" descr="Layer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42" y="161323"/>
            <a:ext cx="1641593" cy="1290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9795794" y="-7273"/>
            <a:ext cx="2399381" cy="1851276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50000"/>
              </a:lnSpc>
              <a:defRPr/>
            </a:pPr>
            <a:endParaRPr lang="en-US" altLang="ru-RU" sz="2540">
              <a:solidFill>
                <a:srgbClr val="000000"/>
              </a:solidFill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en-US" altLang="ru-RU" sz="2540">
              <a:solidFill>
                <a:srgbClr val="000000"/>
              </a:solidFill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ru-RU" altLang="ru-RU" sz="254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5720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26826" r:id="rId1"/>
    <p:sldLayoutId id="2147526827" r:id="rId2"/>
    <p:sldLayoutId id="2147526828" r:id="rId3"/>
    <p:sldLayoutId id="2147526829" r:id="rId4"/>
    <p:sldLayoutId id="2147526830" r:id="rId5"/>
    <p:sldLayoutId id="2147526831" r:id="rId6"/>
    <p:sldLayoutId id="2147526832" r:id="rId7"/>
    <p:sldLayoutId id="2147526833" r:id="rId8"/>
    <p:sldLayoutId id="2147526834" r:id="rId9"/>
    <p:sldLayoutId id="2147526835" r:id="rId10"/>
    <p:sldLayoutId id="2147526836" r:id="rId11"/>
    <p:sldLayoutId id="2147526837" r:id="rId12"/>
    <p:sldLayoutId id="2147526838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69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5pPr>
      <a:lvl6pPr marL="483900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6pPr>
      <a:lvl7pPr marL="967801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7pPr>
      <a:lvl8pPr marL="1451701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8pPr>
      <a:lvl9pPr marL="1935602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62925" indent="-362925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223" kern="1200">
          <a:solidFill>
            <a:schemeClr val="tx1"/>
          </a:solidFill>
          <a:latin typeface="+mn-lt"/>
          <a:ea typeface="+mn-ea"/>
          <a:cs typeface="+mn-cs"/>
        </a:defRPr>
      </a:lvl1pPr>
      <a:lvl2pPr marL="786338" indent="-304119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1211432" indent="-243631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93" kern="1200">
          <a:solidFill>
            <a:schemeClr val="tx1"/>
          </a:solidFill>
          <a:latin typeface="+mn-lt"/>
          <a:ea typeface="+mn-ea"/>
          <a:cs typeface="+mn-cs"/>
        </a:defRPr>
      </a:lvl3pPr>
      <a:lvl4pPr marL="1693652" indent="-24195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82" kern="1200">
          <a:solidFill>
            <a:schemeClr val="tx1"/>
          </a:solidFill>
          <a:latin typeface="+mn-lt"/>
          <a:ea typeface="+mn-ea"/>
          <a:cs typeface="+mn-cs"/>
        </a:defRPr>
      </a:lvl4pPr>
      <a:lvl5pPr marL="2175872" indent="-240271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76" kern="1200">
          <a:solidFill>
            <a:schemeClr val="tx1"/>
          </a:solidFill>
          <a:latin typeface="+mn-lt"/>
          <a:ea typeface="+mn-ea"/>
          <a:cs typeface="+mn-cs"/>
        </a:defRPr>
      </a:lvl5pPr>
      <a:lvl6pPr marL="2661453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3145353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629254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3154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900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801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701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602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502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403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7303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1204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76375" y="87700"/>
            <a:ext cx="9880382" cy="13258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419" y="1826048"/>
            <a:ext cx="10518338" cy="4352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418" y="6357822"/>
            <a:ext cx="274391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7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9652" y="6357822"/>
            <a:ext cx="4115872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2843" y="6357822"/>
            <a:ext cx="274391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30"/>
          <p:cNvSpPr>
            <a:spLocks noChangeArrowheads="1"/>
          </p:cNvSpPr>
          <p:nvPr userDrawn="1"/>
        </p:nvSpPr>
        <p:spPr bwMode="auto">
          <a:xfrm>
            <a:off x="1" y="3735370"/>
            <a:ext cx="181822" cy="371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 userDrawn="1"/>
        </p:nvSpPr>
        <p:spPr bwMode="auto">
          <a:xfrm>
            <a:off x="10899438" y="6310313"/>
            <a:ext cx="918873" cy="360362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  <a:defRPr/>
            </a:pPr>
            <a:fld id="{45647A1D-7CAD-4C0D-BF60-D7508C1EC10C}" type="slidenum">
              <a:rPr lang="ru-RU" altLang="ru-RU" sz="1600" b="1" smtClean="0">
                <a:solidFill>
                  <a:srgbClr val="44546A"/>
                </a:solidFill>
              </a:rPr>
              <a:pPr algn="r">
                <a:lnSpc>
                  <a:spcPct val="110000"/>
                </a:lnSpc>
                <a:spcBef>
                  <a:spcPct val="50000"/>
                </a:spcBef>
                <a:defRPr/>
              </a:pPr>
              <a:t>‹#›</a:t>
            </a:fld>
            <a:endParaRPr lang="ru-RU" altLang="ru-RU" sz="1600" b="1">
              <a:solidFill>
                <a:srgbClr val="44546A"/>
              </a:solidFill>
            </a:endParaRPr>
          </a:p>
        </p:txBody>
      </p:sp>
      <p:sp>
        <p:nvSpPr>
          <p:cNvPr id="9" name="Rectangle 36"/>
          <p:cNvSpPr>
            <a:spLocks noChangeArrowheads="1"/>
          </p:cNvSpPr>
          <p:nvPr userDrawn="1"/>
        </p:nvSpPr>
        <p:spPr bwMode="auto">
          <a:xfrm>
            <a:off x="1" y="3733782"/>
            <a:ext cx="181822" cy="371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prstClr val="black"/>
              </a:solidFill>
            </a:endParaRPr>
          </a:p>
        </p:txBody>
      </p:sp>
      <p:graphicFrame>
        <p:nvGraphicFramePr>
          <p:cNvPr id="10" name="Object 39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044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40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045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1" descr="Layer 2"/>
          <p:cNvPicPr>
            <a:picLocks noChangeAspect="1" noChangeArrowheads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73554"/>
            <a:ext cx="1284287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9966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27239" r:id="rId1"/>
    <p:sldLayoutId id="2147527240" r:id="rId2"/>
    <p:sldLayoutId id="2147527241" r:id="rId3"/>
    <p:sldLayoutId id="2147527242" r:id="rId4"/>
    <p:sldLayoutId id="2147527243" r:id="rId5"/>
    <p:sldLayoutId id="2147527244" r:id="rId6"/>
    <p:sldLayoutId id="2147527245" r:id="rId7"/>
    <p:sldLayoutId id="2147527246" r:id="rId8"/>
    <p:sldLayoutId id="2147527247" r:id="rId9"/>
    <p:sldLayoutId id="2147527248" r:id="rId10"/>
    <p:sldLayoutId id="2147527249" r:id="rId11"/>
    <p:sldLayoutId id="2147527250" r:id="rId12"/>
  </p:sldLayoutIdLst>
  <p:txStyles>
    <p:titleStyle>
      <a:lvl1pPr algn="l" defTabSz="914583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bg1">
              <a:lumMod val="50000"/>
            </a:schemeClr>
          </a:solidFill>
          <a:latin typeface="Proxima Nova Lt"/>
          <a:ea typeface="+mj-ea"/>
          <a:cs typeface="+mj-cs"/>
        </a:defRPr>
      </a:lvl1pPr>
    </p:titleStyle>
    <p:bodyStyle>
      <a:lvl1pPr marL="228646" indent="-228646" algn="l" defTabSz="91458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1pPr>
      <a:lvl2pPr marL="685937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1143229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1600520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811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5103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394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686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977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91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83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74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166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457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749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104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332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6385695" y="2493690"/>
            <a:ext cx="5233597" cy="1125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878" tIns="54439" rIns="108878" bIns="54439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buNone/>
            </a:pPr>
            <a:r>
              <a:rPr lang="ru-RU" dirty="0">
                <a:solidFill>
                  <a:schemeClr val="bg1"/>
                </a:solidFill>
              </a:rPr>
              <a:t>Согласование и процессы подготовки отчетности: новые функции редакции 3.3.</a:t>
            </a:r>
            <a:endParaRPr lang="ru-RU" alt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3863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5713445" y="1629178"/>
            <a:ext cx="5820993" cy="556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878" tIns="54439" rIns="108878" bIns="54439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buFont typeface="Wingdings" pitchFamily="2" charset="2"/>
              <a:buNone/>
            </a:pPr>
            <a:r>
              <a:rPr lang="ru-RU" altLang="ru-RU" sz="2900" b="1" dirty="0">
                <a:solidFill>
                  <a:srgbClr val="FFFFFF"/>
                </a:solidFill>
              </a:rPr>
              <a:t>СПАСИБО ЗА ВНИМАНИЕ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8FA5800-F518-48FA-89C3-4726D87A38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5695" y="2565698"/>
            <a:ext cx="5233597" cy="1125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878" tIns="54439" rIns="108878" bIns="54439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buNone/>
            </a:pPr>
            <a:r>
              <a:rPr lang="ru-RU" dirty="0">
                <a:solidFill>
                  <a:schemeClr val="bg1"/>
                </a:solidFill>
              </a:rPr>
              <a:t>Согласование и процессы подготовки отчетности: новые функции редакции 3.3.</a:t>
            </a:r>
            <a:endParaRPr lang="ru-RU" alt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7878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400297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Новые функции процесса подготовки отчетности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id="{88F611D6-DFFE-4379-A19A-116F482DEC59}"/>
              </a:ext>
            </a:extLst>
          </p:cNvPr>
          <p:cNvSpPr txBox="1">
            <a:spLocks/>
          </p:cNvSpPr>
          <p:nvPr/>
        </p:nvSpPr>
        <p:spPr>
          <a:xfrm>
            <a:off x="841003" y="1413570"/>
            <a:ext cx="10297144" cy="4752528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В этапах процесса подготовки отчетности для каждого обрабатываемого вида отчета можно дополнительно указывать состав используемой аналитики (до 6 аналитик + измерение проект).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Аналитика должна быть задана на уровне вида отчета.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Регламент подготовки отчетности поддерживает настройку правил  формирования видов отчетов в разрезе аналитик и проектов.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роцессы подготовки отчетности могут автоматически формировать и заполнять экземпляры отчетов, с учетом всех комбинаций аналитик, указанных в шаблонах процессах.</a:t>
            </a:r>
          </a:p>
          <a:p>
            <a:pPr marL="0" indent="0">
              <a:buNone/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5612" lvl="1" indent="0">
              <a:buNone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92321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400297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налитика </a:t>
            </a:r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вида отчета в этапе процесса подготовки отчетности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id="{88F611D6-DFFE-4379-A19A-116F482DEC59}"/>
              </a:ext>
            </a:extLst>
          </p:cNvPr>
          <p:cNvSpPr txBox="1">
            <a:spLocks/>
          </p:cNvSpPr>
          <p:nvPr/>
        </p:nvSpPr>
        <p:spPr>
          <a:xfrm>
            <a:off x="841003" y="765498"/>
            <a:ext cx="10297144" cy="1224136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  <a:p>
            <a:pPr marL="0" indent="0">
              <a:buNone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В этапах процесса подготовки отчетности для каждого обрабатываемого вида отчета можно дополнительно указывать состав используемой аналитики (до 6 аналитик + измерение проект).</a:t>
            </a:r>
          </a:p>
          <a:p>
            <a:pPr marL="0" indent="0">
              <a:buNone/>
            </a:pP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5612" lvl="1" indent="0">
              <a:buNone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F248FDB-50B8-4483-B838-C2FA9AF52E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5019" y="2205658"/>
            <a:ext cx="5150065" cy="432048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Левая фигурная скобка 7">
            <a:extLst>
              <a:ext uri="{FF2B5EF4-FFF2-40B4-BE49-F238E27FC236}">
                <a16:creationId xmlns:a16="http://schemas.microsoft.com/office/drawing/2014/main" id="{DF0E8B7E-9093-4436-A0E4-7DE15AC6D842}"/>
              </a:ext>
            </a:extLst>
          </p:cNvPr>
          <p:cNvSpPr/>
          <p:nvPr/>
        </p:nvSpPr>
        <p:spPr>
          <a:xfrm>
            <a:off x="4406081" y="5157986"/>
            <a:ext cx="323354" cy="360038"/>
          </a:xfrm>
          <a:prstGeom prst="leftBrace">
            <a:avLst/>
          </a:prstGeom>
          <a:ln w="3492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F6BA28F-9B67-4200-946A-2B5C6A8873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5619" y="2177469"/>
            <a:ext cx="5264545" cy="406063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" name="Прямая со стрелкой 4">
            <a:extLst>
              <a:ext uri="{FF2B5EF4-FFF2-40B4-BE49-F238E27FC236}">
                <a16:creationId xmlns:a16="http://schemas.microsoft.com/office/drawing/2014/main" id="{D81E0754-32B3-4183-A392-8CE39E8F13C9}"/>
              </a:ext>
            </a:extLst>
          </p:cNvPr>
          <p:cNvCxnSpPr>
            <a:cxnSpLocks/>
          </p:cNvCxnSpPr>
          <p:nvPr/>
        </p:nvCxnSpPr>
        <p:spPr bwMode="auto">
          <a:xfrm>
            <a:off x="5305499" y="5302002"/>
            <a:ext cx="1224136" cy="0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41275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6914189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400297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налитика </a:t>
            </a:r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вида отчета в этапе процесса подготовки отчетности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id="{88F611D6-DFFE-4379-A19A-116F482DEC59}"/>
              </a:ext>
            </a:extLst>
          </p:cNvPr>
          <p:cNvSpPr txBox="1">
            <a:spLocks/>
          </p:cNvSpPr>
          <p:nvPr/>
        </p:nvSpPr>
        <p:spPr>
          <a:xfrm>
            <a:off x="913011" y="1053530"/>
            <a:ext cx="10297144" cy="1008112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Регламент подготовки отчетности поддерживает настройку правил  формирования видов отчетов в разрезе аналитик и проектов.</a:t>
            </a:r>
          </a:p>
          <a:p>
            <a:pPr marL="0" indent="0">
              <a:buNone/>
            </a:pP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5612" lvl="1" indent="0">
              <a:buNone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160A4E3-8DB4-4D2A-B726-7D718BF6F6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0746" y="1845618"/>
            <a:ext cx="8337281" cy="4392488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713333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400297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налитика </a:t>
            </a:r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вида отчета в этапе процесса подготовки отчетности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id="{88F611D6-DFFE-4379-A19A-116F482DEC59}"/>
              </a:ext>
            </a:extLst>
          </p:cNvPr>
          <p:cNvSpPr txBox="1">
            <a:spLocks/>
          </p:cNvSpPr>
          <p:nvPr/>
        </p:nvSpPr>
        <p:spPr>
          <a:xfrm>
            <a:off x="985019" y="981522"/>
            <a:ext cx="10297144" cy="1008112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роцессы подготовки отчетности могут автоматически формировать и заполнять экземпляры отчетов, с учетом всех комбинаций аналитик, указанных в шаблонах процессах.</a:t>
            </a:r>
          </a:p>
          <a:p>
            <a:pPr marL="0" indent="0">
              <a:buNone/>
            </a:pP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5612" lvl="1" indent="0">
              <a:buNone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0073DC5-7B25-4681-A414-BFCF328FB5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3131" y="1701602"/>
            <a:ext cx="8173153" cy="489656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322713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400298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Новые функции согласования объектов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id="{88F611D6-DFFE-4379-A19A-116F482DEC59}"/>
              </a:ext>
            </a:extLst>
          </p:cNvPr>
          <p:cNvSpPr txBox="1">
            <a:spLocks/>
          </p:cNvSpPr>
          <p:nvPr/>
        </p:nvSpPr>
        <p:spPr>
          <a:xfrm>
            <a:off x="841003" y="1413570"/>
            <a:ext cx="10297144" cy="4752528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Добавлена возможность условного перехода по значению реквизита табличной части согласуемого объекта.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Добавлен функционал делегирования задачи согласованию другим пользователям.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Добавлена возможность прикрепления вложений и любых выбранных печатных форм к оповещениям о согласовании объекта через почту или телеграмм.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Добавлена возможность бесшовного согласования объектов через 1С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Документооборот 3.0.</a:t>
            </a:r>
          </a:p>
          <a:p>
            <a:pPr marL="0" indent="0">
              <a:buNone/>
            </a:pP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5612" lvl="1" indent="0">
              <a:buNone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53457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400297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Условный переход по табличным частям в маршрутах согласования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id="{88F611D6-DFFE-4379-A19A-116F482DEC59}"/>
              </a:ext>
            </a:extLst>
          </p:cNvPr>
          <p:cNvSpPr txBox="1">
            <a:spLocks/>
          </p:cNvSpPr>
          <p:nvPr/>
        </p:nvSpPr>
        <p:spPr>
          <a:xfrm>
            <a:off x="913011" y="1053530"/>
            <a:ext cx="10297144" cy="1008112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Добавлена возможность условного перехода по значению реквизита табличной части согласуемого объекта. Условие проверяется для  всех строк табличной части до перового совпадения.</a:t>
            </a:r>
          </a:p>
          <a:p>
            <a:pPr marL="0" indent="0">
              <a:buNone/>
            </a:pP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5612" lvl="1" indent="0">
              <a:buNone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AC4C4ED-1262-415E-8628-919430121A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6773" y="1854020"/>
            <a:ext cx="8673382" cy="460011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506763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400297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легирование задач.</a:t>
            </a:r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id="{88F611D6-DFFE-4379-A19A-116F482DEC59}"/>
              </a:ext>
            </a:extLst>
          </p:cNvPr>
          <p:cNvSpPr txBox="1">
            <a:spLocks/>
          </p:cNvSpPr>
          <p:nvPr/>
        </p:nvSpPr>
        <p:spPr>
          <a:xfrm>
            <a:off x="913011" y="1053530"/>
            <a:ext cx="10297144" cy="1008112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огласующий задачу пользователь  может переадресовать (делегировать) задачу другому пользователям, если хочет.  При этом задача уйдет от него и будет ждать согласования от  назначенного пользователя. </a:t>
            </a:r>
          </a:p>
          <a:p>
            <a:pPr marL="0" indent="0">
              <a:buNone/>
            </a:pP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5612" lvl="1" indent="0">
              <a:buNone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093659F-D587-4B09-9BD0-755F9A65F7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5020" y="1989634"/>
            <a:ext cx="5328592" cy="422188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666F4CC-D987-4D5E-88B9-B691F3EFD7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29635" y="1989634"/>
            <a:ext cx="5256584" cy="422188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8" name="Прямая со стрелкой 7">
            <a:extLst>
              <a:ext uri="{FF2B5EF4-FFF2-40B4-BE49-F238E27FC236}">
                <a16:creationId xmlns:a16="http://schemas.microsoft.com/office/drawing/2014/main" id="{CF3C1ED2-A161-4772-8509-B40454C16704}"/>
              </a:ext>
            </a:extLst>
          </p:cNvPr>
          <p:cNvCxnSpPr>
            <a:cxnSpLocks/>
          </p:cNvCxnSpPr>
          <p:nvPr/>
        </p:nvCxnSpPr>
        <p:spPr bwMode="auto">
          <a:xfrm flipV="1">
            <a:off x="6241603" y="3501802"/>
            <a:ext cx="936104" cy="2304256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41275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0723480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400297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Настройка согласования через 1С</a:t>
            </a:r>
            <a:r>
              <a:rPr lang="en-US" altLang="ru-RU" sz="2400" b="0" dirty="0">
                <a:solidFill>
                  <a:schemeClr val="tx1"/>
                </a:solidFill>
                <a:ea typeface="+mn-ea"/>
              </a:rPr>
              <a:t>:</a:t>
            </a:r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Документооборот 3.0</a:t>
            </a:r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" name="Объект 2">
            <a:extLst>
              <a:ext uri="{FF2B5EF4-FFF2-40B4-BE49-F238E27FC236}">
                <a16:creationId xmlns:a16="http://schemas.microsoft.com/office/drawing/2014/main" id="{95B6C8F7-4B87-4DB7-B39F-786B5FE6914F}"/>
              </a:ext>
            </a:extLst>
          </p:cNvPr>
          <p:cNvSpPr txBox="1">
            <a:spLocks/>
          </p:cNvSpPr>
          <p:nvPr/>
        </p:nvSpPr>
        <p:spPr>
          <a:xfrm>
            <a:off x="841003" y="1053530"/>
            <a:ext cx="10297144" cy="4896544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Возможность согласования объектов 1С:Управление холдингом через 1С:Документооборот 3.0 реализована на базе механизма бесшовной интеграции библиотеки БИД. Настройки данной библиотеки приведены в документации к 1С:Документооборот 3.0.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Интеграция согласования с 1С:Документооборот 3.0 настраивается для каждого типа объекта (справочник или документа). Если для типа объекта настроено согласование через 1С:Документооборот 3.0, то согласование методами 1С:Управление холдингом блокируется.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Для объекта, который предполагается согласовывать через 1С:Документооборот необходимо в Документах текущей ИБ или Справочниках текущей ИБ, поставить соответствующий признак.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ри включенной интеграции в обработке Мои задачи и оповещения появится возможность переключения между окном задач 1С:Управление холдингом и 1С:Документооборот.</a:t>
            </a:r>
          </a:p>
          <a:p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5612" lvl="1" indent="0">
              <a:buNone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15925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5_Специальное оформление">
  <a:themeElements>
    <a:clrScheme name="4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4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6_Оформление по умолчанию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46</Words>
  <Application>Microsoft Office PowerPoint</Application>
  <PresentationFormat>Произвольный</PresentationFormat>
  <Paragraphs>68</Paragraphs>
  <Slides>10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9" baseType="lpstr">
      <vt:lpstr>Arial</vt:lpstr>
      <vt:lpstr>Calibri</vt:lpstr>
      <vt:lpstr>Futura PT Demi</vt:lpstr>
      <vt:lpstr>Proxima Nova Lt</vt:lpstr>
      <vt:lpstr>Times New Roman</vt:lpstr>
      <vt:lpstr>Wingdings</vt:lpstr>
      <vt:lpstr>5_Специальное оформление</vt:lpstr>
      <vt:lpstr>36_Оформление по умолчанию</vt:lpstr>
      <vt:lpstr>think-cell Slide</vt:lpstr>
      <vt:lpstr>Презентация PowerPoint</vt:lpstr>
      <vt:lpstr>Новые функции процесса подготовки отчетности</vt:lpstr>
      <vt:lpstr>Аналитика вида отчета в этапе процесса подготовки отчетности</vt:lpstr>
      <vt:lpstr>Аналитика вида отчета в этапе процесса подготовки отчетности</vt:lpstr>
      <vt:lpstr>Аналитика вида отчета в этапе процесса подготовки отчетности</vt:lpstr>
      <vt:lpstr>Новые функции согласования объектов</vt:lpstr>
      <vt:lpstr>Условный переход по табличным частям в маршрутах согласования</vt:lpstr>
      <vt:lpstr>Делегирование задач.</vt:lpstr>
      <vt:lpstr>Настройка согласования через 1С:Документооборот 3.0.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8-02-08T09:59:48Z</dcterms:created>
  <dcterms:modified xsi:type="dcterms:W3CDTF">2025-04-07T08:17:40Z</dcterms:modified>
</cp:coreProperties>
</file>